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79" r:id="rId2"/>
    <p:sldId id="277" r:id="rId3"/>
    <p:sldId id="281" r:id="rId4"/>
    <p:sldId id="280" r:id="rId5"/>
  </p:sldIdLst>
  <p:sldSz cx="12192000" cy="6858000"/>
  <p:notesSz cx="6858000" cy="9144000"/>
  <p:custDataLst>
    <p:tags r:id="rId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45"/>
    <p:restoredTop sz="94421"/>
  </p:normalViewPr>
  <p:slideViewPr>
    <p:cSldViewPr snapToGrid="0" snapToObjects="1">
      <p:cViewPr varScale="1">
        <p:scale>
          <a:sx n="78" d="100"/>
          <a:sy n="78" d="100"/>
        </p:scale>
        <p:origin x="200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98E520-92D7-3D48-AD98-6173C057EE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4D1C5F8-D22D-E54D-9E49-5CD9CC416B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8770BCC-085B-C949-A106-F3092BAF7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DB94966-A20A-3E45-BF84-3CFFC0F3B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48E3613-775B-FA45-A820-2DA9F7768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75951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0E38B3-033D-6C40-9E3C-7AA829844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3191F0C-1755-8945-A991-3222DD5C55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D636222-D02D-7B44-BAB7-08022E665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4687EAF-4532-F946-9E8D-9D345F640B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115A8D8-A2E2-CD43-9FE1-E3063AD18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099134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9706C7DD-9CD1-2D48-9A88-BD8F01E695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63B445A-3AD4-0C40-9D25-EE013BDB0C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2002EF8-FD20-B94D-8A33-4A39AC13F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02DE898-0DD2-8D41-9243-348E774499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384C4E9-9B87-974D-BC14-7C89FD2D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233253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DF8BFB-16C4-704B-81EE-2A2890EFD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FE066B2-D0BF-1348-8A15-B5246D0978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5B44EAD-AB51-0249-B109-867E6D520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B11EDE7-EBCE-A149-A932-292B29BE5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DA6E0B5-744E-344E-86E8-358706120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15360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9D1FF5-C7D5-8C4E-8374-494BA6E0A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750AF0E-4E91-C24B-9DEC-A9BD391A10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2DC22E-F090-CA4D-AA38-083B6D5A2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6B007B9-CA45-FF4C-A097-9FA4BA93E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B013B3-AE80-5D40-97C1-F35BFFC96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26620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0FE43F-C81A-3D4F-88D3-C91CDB81E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661C8B8-0EFC-2A46-B9B7-7E71CA7DF5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15AB026A-91D3-3A4A-8BE2-5397CB35A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E89DE62-9380-3C4B-8DEB-638BE03D4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DCDD1F5-7A90-9B4C-BF05-06E56D5AD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D6BEF53-1495-C249-8A37-A71144F2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526793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022405-19BD-DA4C-8F84-AA5C75EDE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562E7D6-FA8A-424F-9AB4-4D1B215870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AB1F843-98E5-1C45-81FC-57F38E2201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2146A6BB-0B4A-4048-982A-1BB1CAE41D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BFFF4C1E-0AD8-734B-B37D-CC8612F8B2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40ACAC67-BC3E-B34F-8C3E-2AC4EE080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22489273-5E33-6D40-BAA6-9299B6787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0BB36E62-A9CA-1145-A5BE-786F94EA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7724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1C5C703-79BD-3345-856F-7C66CFE61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4BAC6E76-809C-D347-A869-DF5E3EDCB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C24EEF6-AD2C-244E-88E0-AFDDFA3DA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34DEF79-287D-124E-981A-8489FF130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134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E0A1B47-D363-B947-9315-3454BFAE43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05268AC-5B21-C445-9896-85AAE865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F43CB7-673C-8D4C-87D7-F60EF90F6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63830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667DFF-45D6-404C-9E84-C803A7251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9449E29-9ED5-024A-8421-340F057D7A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0F0044E-02A2-A341-B61A-80CC755320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DB3161A-F831-1343-9BF5-092FEB0396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420F24D-084C-944F-92C8-0372A2883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62A016D-ABC6-B544-9DBC-3CD1B0362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776115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B6E1EB-19D4-5E4A-9BF4-6196B349D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784D2D38-287B-F742-A424-239870E577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3CEDAEE-1F69-1948-B4E3-A2060E92B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A81638C-DD08-DD4E-A49A-20BFA2456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424B3A8-7107-F240-BDF1-EB4FE72A1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12D7B17-843A-9746-8DAB-54D09BABF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90632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6F7BB71-EE73-EA42-B19B-46B2B2F0E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558B10D-A239-C145-BA36-68DD65445B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kumimoji="1" lang="zh-CN" altLang="en-US"/>
              <a:t>编辑母版文本样式
第二级
第三级
第四级
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3CC108-30BD-D645-BF51-2354A78A65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BCD128-981E-004F-9488-D1481FBD03F5}" type="datetimeFigureOut">
              <a:rPr kumimoji="1" lang="zh-CN" altLang="en-US" smtClean="0"/>
              <a:t>2020/4/14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7582A0A-72CB-5944-8885-440172150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D244A4-D8D2-C943-9A75-423BAD308E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4CE4FD-C7D8-3240-A72A-B395C27347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1791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A95A0BEB-3F8B-B043-8422-5234113D8D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幻灯片" r:id="rId4" imgW="3886200" imgH="5029200" progId="TCLayout.ActiveDocument.1">
                  <p:embed/>
                </p:oleObj>
              </mc:Choice>
              <mc:Fallback>
                <p:oleObj name="think-cell 幻灯片" r:id="rId4" imgW="3886200" imgH="50292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A95A0BEB-3F8B-B043-8422-5234113D8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框 1">
            <a:extLst>
              <a:ext uri="{FF2B5EF4-FFF2-40B4-BE49-F238E27FC236}">
                <a16:creationId xmlns:a16="http://schemas.microsoft.com/office/drawing/2014/main" id="{6414CDA4-0AA6-0A42-A5D9-DD22197A14E3}"/>
              </a:ext>
            </a:extLst>
          </p:cNvPr>
          <p:cNvSpPr txBox="1"/>
          <p:nvPr/>
        </p:nvSpPr>
        <p:spPr>
          <a:xfrm>
            <a:off x="6610661" y="6074913"/>
            <a:ext cx="4047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参考</a:t>
            </a:r>
            <a:r>
              <a:rPr lang="en" altLang="zh-CN" dirty="0"/>
              <a:t>Rubio-Perez</a:t>
            </a:r>
            <a:r>
              <a:rPr kumimoji="1" lang="zh-CN" altLang="en-US" dirty="0"/>
              <a:t> </a:t>
            </a:r>
            <a:r>
              <a:rPr kumimoji="1" lang="en-US" altLang="zh-CN" dirty="0"/>
              <a:t>et</a:t>
            </a:r>
            <a:r>
              <a:rPr kumimoji="1" lang="zh-CN" altLang="en-US" dirty="0"/>
              <a:t> </a:t>
            </a:r>
            <a:r>
              <a:rPr kumimoji="1" lang="en-US" altLang="zh-CN" dirty="0"/>
              <a:t>al.</a:t>
            </a:r>
            <a:r>
              <a:rPr kumimoji="1" lang="zh-CN" altLang="en-US" dirty="0"/>
              <a:t> 的文章思路</a:t>
            </a:r>
            <a:endParaRPr lang="en" altLang="zh-CN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40CFF98-98E8-464B-A022-109F3E60E6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9330" y="1293149"/>
            <a:ext cx="5358568" cy="5347851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9AC47E97-0997-1346-9B3C-E19CA8D715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9330" y="89940"/>
            <a:ext cx="5341840" cy="1119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27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842794" y="166601"/>
            <a:ext cx="3877519" cy="226863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>
                <a:solidFill>
                  <a:srgbClr val="FF0000"/>
                </a:solidFill>
              </a:rPr>
              <a:t>数据收集和模型训练</a:t>
            </a:r>
            <a:endParaRPr kumimoji="1" lang="en-US" altLang="zh-CN" b="1" dirty="0">
              <a:solidFill>
                <a:srgbClr val="FF0000"/>
              </a:solidFill>
            </a:endParaRPr>
          </a:p>
          <a:p>
            <a:pPr marL="285750" indent="-285750" algn="ctr">
              <a:buFontTx/>
              <a:buChar char="-"/>
            </a:pPr>
            <a:r>
              <a:rPr kumimoji="1" lang="en-US" altLang="zh-CN" dirty="0">
                <a:solidFill>
                  <a:srgbClr val="FF0000"/>
                </a:solidFill>
              </a:rPr>
              <a:t>Multitask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model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training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>
                <a:solidFill>
                  <a:srgbClr val="FF0000"/>
                </a:solidFill>
              </a:rPr>
              <a:t>Anti-bacterial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drugs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(clinical,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pre-clinical;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chemicals,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herb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formula)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>
                <a:solidFill>
                  <a:srgbClr val="FF0000"/>
                </a:solidFill>
              </a:rPr>
              <a:t>Cold-hot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seed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genes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>
                <a:solidFill>
                  <a:srgbClr val="FF0000"/>
                </a:solidFill>
              </a:rPr>
              <a:t>Phenotype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related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genes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>
                <a:solidFill>
                  <a:srgbClr val="FF0000"/>
                </a:solidFill>
              </a:rPr>
              <a:t>DE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genes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from</a:t>
            </a:r>
            <a:r>
              <a:rPr kumimoji="1" lang="zh-CN" altLang="en-US" dirty="0">
                <a:solidFill>
                  <a:srgbClr val="FF0000"/>
                </a:solidFill>
              </a:rPr>
              <a:t> </a:t>
            </a:r>
            <a:r>
              <a:rPr kumimoji="1" lang="en-US" altLang="zh-CN" dirty="0">
                <a:solidFill>
                  <a:srgbClr val="FF0000"/>
                </a:solidFill>
              </a:rPr>
              <a:t>GEO</a:t>
            </a:r>
          </a:p>
        </p:txBody>
      </p:sp>
      <p:sp>
        <p:nvSpPr>
          <p:cNvPr id="5" name="矩形 4"/>
          <p:cNvSpPr/>
          <p:nvPr/>
        </p:nvSpPr>
        <p:spPr>
          <a:xfrm>
            <a:off x="8171727" y="2303363"/>
            <a:ext cx="3841468" cy="183283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/>
              <a:t>描绘抗病毒网络靶标</a:t>
            </a:r>
            <a:endParaRPr kumimoji="1" lang="en-US" altLang="zh-CN" b="1" dirty="0"/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Bind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mode-based</a:t>
            </a:r>
            <a:r>
              <a:rPr kumimoji="1" lang="zh-CN" altLang="en-US" dirty="0"/>
              <a:t> </a:t>
            </a:r>
            <a:r>
              <a:rPr kumimoji="1" lang="en-US" altLang="zh-CN" dirty="0"/>
              <a:t>network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PPI</a:t>
            </a:r>
            <a:r>
              <a:rPr kumimoji="1" lang="zh-CN" altLang="en-US" dirty="0"/>
              <a:t> </a:t>
            </a:r>
            <a:r>
              <a:rPr kumimoji="1" lang="en-US" altLang="zh-CN" dirty="0"/>
              <a:t>network</a:t>
            </a:r>
            <a:r>
              <a:rPr kumimoji="1" lang="zh-CN" altLang="en-US" dirty="0"/>
              <a:t> </a:t>
            </a:r>
            <a:r>
              <a:rPr kumimoji="1" lang="en-US" altLang="zh-CN" dirty="0"/>
              <a:t>modules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Cold-Hot</a:t>
            </a:r>
            <a:r>
              <a:rPr kumimoji="1" lang="zh-CN" altLang="en-US" dirty="0"/>
              <a:t> </a:t>
            </a:r>
            <a:r>
              <a:rPr kumimoji="1" lang="en-US" altLang="zh-CN" dirty="0"/>
              <a:t>seed</a:t>
            </a:r>
            <a:r>
              <a:rPr kumimoji="1" lang="zh-CN" altLang="en-US" dirty="0"/>
              <a:t> </a:t>
            </a:r>
            <a:r>
              <a:rPr kumimoji="1" lang="en-US" altLang="zh-CN" dirty="0"/>
              <a:t>gene</a:t>
            </a:r>
            <a:r>
              <a:rPr kumimoji="1" lang="zh-CN" altLang="en-US" dirty="0"/>
              <a:t> </a:t>
            </a:r>
            <a:r>
              <a:rPr kumimoji="1" lang="en-US" altLang="zh-CN" dirty="0"/>
              <a:t>mapping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Phenotype</a:t>
            </a:r>
            <a:r>
              <a:rPr kumimoji="1" lang="zh-CN" altLang="en-US" dirty="0"/>
              <a:t> </a:t>
            </a:r>
            <a:r>
              <a:rPr kumimoji="1" lang="en-US" altLang="zh-CN" dirty="0"/>
              <a:t>correlated</a:t>
            </a:r>
            <a:r>
              <a:rPr kumimoji="1" lang="zh-CN" altLang="en-US" dirty="0"/>
              <a:t> </a:t>
            </a:r>
            <a:r>
              <a:rPr kumimoji="1" lang="en-US" altLang="zh-CN" dirty="0"/>
              <a:t>targets/bind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modes</a:t>
            </a:r>
          </a:p>
        </p:txBody>
      </p:sp>
      <p:sp>
        <p:nvSpPr>
          <p:cNvPr id="6" name="矩形 5"/>
          <p:cNvSpPr/>
          <p:nvPr/>
        </p:nvSpPr>
        <p:spPr>
          <a:xfrm>
            <a:off x="3842793" y="5171607"/>
            <a:ext cx="3877519" cy="127844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/>
              <a:t>展示现有药物对网络靶标的作用机制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’Therapeutic</a:t>
            </a:r>
            <a:r>
              <a:rPr kumimoji="1" lang="zh-CN" altLang="en-US" dirty="0"/>
              <a:t> </a:t>
            </a:r>
            <a:r>
              <a:rPr kumimoji="1" lang="en-US" altLang="zh-CN" dirty="0"/>
              <a:t>landscape’</a:t>
            </a:r>
          </a:p>
        </p:txBody>
      </p:sp>
      <p:sp>
        <p:nvSpPr>
          <p:cNvPr id="7" name="矩形 6"/>
          <p:cNvSpPr/>
          <p:nvPr/>
        </p:nvSpPr>
        <p:spPr>
          <a:xfrm>
            <a:off x="190983" y="2303363"/>
            <a:ext cx="3200398" cy="167832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/>
              <a:t>基于网络靶标的治疗建议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Drug</a:t>
            </a:r>
            <a:r>
              <a:rPr kumimoji="1" lang="zh-CN" altLang="en-US" dirty="0"/>
              <a:t> </a:t>
            </a:r>
            <a:r>
              <a:rPr kumimoji="1" lang="en-US" altLang="zh-CN" dirty="0"/>
              <a:t>combination?</a:t>
            </a:r>
          </a:p>
          <a:p>
            <a:pPr marL="285750" indent="-285750" algn="ctr">
              <a:buFontTx/>
              <a:buChar char="-"/>
            </a:pPr>
            <a:r>
              <a:rPr kumimoji="1" lang="en-US" altLang="zh-CN" dirty="0"/>
              <a:t>Identify</a:t>
            </a:r>
            <a:r>
              <a:rPr kumimoji="1" lang="zh-CN" altLang="en-US" dirty="0"/>
              <a:t> </a:t>
            </a:r>
            <a:r>
              <a:rPr kumimoji="1" lang="en-US" altLang="zh-CN" dirty="0"/>
              <a:t>candidate</a:t>
            </a:r>
            <a:r>
              <a:rPr kumimoji="1" lang="zh-CN" altLang="en-US" dirty="0"/>
              <a:t> </a:t>
            </a:r>
            <a:r>
              <a:rPr kumimoji="1" lang="en-US" altLang="zh-CN" dirty="0"/>
              <a:t>components</a:t>
            </a:r>
            <a:r>
              <a:rPr kumimoji="1" lang="zh-CN" altLang="en-US" dirty="0"/>
              <a:t> </a:t>
            </a:r>
            <a:r>
              <a:rPr kumimoji="1" lang="en-US" altLang="zh-CN" dirty="0"/>
              <a:t>from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b</a:t>
            </a:r>
            <a:r>
              <a:rPr kumimoji="1" lang="zh-CN" altLang="en-US" dirty="0"/>
              <a:t> </a:t>
            </a:r>
            <a:r>
              <a:rPr kumimoji="1" lang="en-US" altLang="zh-CN" dirty="0"/>
              <a:t>formula?</a:t>
            </a:r>
          </a:p>
        </p:txBody>
      </p:sp>
      <p:sp>
        <p:nvSpPr>
          <p:cNvPr id="8" name="圆角右箭头 7"/>
          <p:cNvSpPr/>
          <p:nvPr/>
        </p:nvSpPr>
        <p:spPr>
          <a:xfrm rot="5400000">
            <a:off x="8018364" y="1093808"/>
            <a:ext cx="920185" cy="983848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9" name="圆角右箭头 8"/>
          <p:cNvSpPr/>
          <p:nvPr/>
        </p:nvSpPr>
        <p:spPr>
          <a:xfrm rot="10800000">
            <a:off x="7885254" y="4323205"/>
            <a:ext cx="920185" cy="1677648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537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10" name="圆角右箭头 9"/>
          <p:cNvSpPr/>
          <p:nvPr/>
        </p:nvSpPr>
        <p:spPr>
          <a:xfrm rot="16200000">
            <a:off x="2045954" y="4592540"/>
            <a:ext cx="1522515" cy="983848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11" name="圆角右箭头 10"/>
          <p:cNvSpPr/>
          <p:nvPr/>
        </p:nvSpPr>
        <p:spPr>
          <a:xfrm>
            <a:off x="2307702" y="854439"/>
            <a:ext cx="920185" cy="1197173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4CBBE48-95A5-BB48-8512-77B213EE6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0381" y="4282671"/>
            <a:ext cx="3042813" cy="1474623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C8A51C2B-1ECB-F148-A917-73C543D3B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4243" y="2546999"/>
            <a:ext cx="3826089" cy="209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167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3526E047-7910-1148-825B-8D7ABADA88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556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886200" imgH="5029200" progId="TCLayout.ActiveDocument.1">
                  <p:embed/>
                </p:oleObj>
              </mc:Choice>
              <mc:Fallback>
                <p:oleObj name="think-cell 幻灯片" r:id="rId4" imgW="3886200" imgH="50292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>
            <a:extLst>
              <a:ext uri="{FF2B5EF4-FFF2-40B4-BE49-F238E27FC236}">
                <a16:creationId xmlns:a16="http://schemas.microsoft.com/office/drawing/2014/main" id="{6752A294-DDA5-0C4E-ACA8-19D418B8FF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771" y="575734"/>
            <a:ext cx="11344213" cy="549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949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CB80AF7C-D67E-2A4A-B323-6A90157CDF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幻灯片" r:id="rId4" imgW="3886200" imgH="5029200" progId="TCLayout.ActiveDocument.1">
                  <p:embed/>
                </p:oleObj>
              </mc:Choice>
              <mc:Fallback>
                <p:oleObj name="think-cell 幻灯片" r:id="rId4" imgW="3886200" imgH="502920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CB80AF7C-D67E-2A4A-B323-6A90157CDF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2E282259-E975-3F45-ABFB-5443A15548E1}"/>
              </a:ext>
            </a:extLst>
          </p:cNvPr>
          <p:cNvSpPr/>
          <p:nvPr/>
        </p:nvSpPr>
        <p:spPr>
          <a:xfrm>
            <a:off x="374753" y="0"/>
            <a:ext cx="11197653" cy="689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700" b="1" dirty="0"/>
              <a:t>任务和安排：</a:t>
            </a:r>
            <a:endParaRPr lang="zh-CN" altLang="en-US" sz="1700" dirty="0"/>
          </a:p>
          <a:p>
            <a:pPr>
              <a:buFont typeface="+mj-lt"/>
              <a:buAutoNum type="arabicPeriod"/>
            </a:pPr>
            <a:r>
              <a:rPr lang="zh-CN" altLang="en-US" sz="1700" dirty="0"/>
              <a:t>数据集整理：统一汇总后，放在我们服务器上指定路径，</a:t>
            </a:r>
            <a:r>
              <a:rPr lang="en-US" altLang="zh-CN" sz="1700" dirty="0"/>
              <a:t>git</a:t>
            </a:r>
            <a:r>
              <a:rPr lang="zh-CN" altLang="en-US" sz="1700" dirty="0"/>
              <a:t>共享记录所有修改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b="1" dirty="0"/>
              <a:t>化合物</a:t>
            </a:r>
            <a:r>
              <a:rPr lang="en-US" altLang="zh-CN" sz="1700" b="1" dirty="0"/>
              <a:t>-</a:t>
            </a:r>
            <a:r>
              <a:rPr lang="zh-CN" altLang="en-US" sz="1700" b="1" dirty="0"/>
              <a:t>蛋白结合强度</a:t>
            </a:r>
            <a:r>
              <a:rPr lang="en-US" altLang="zh-CN" sz="1700" b="1" dirty="0"/>
              <a:t>(</a:t>
            </a:r>
            <a:r>
              <a:rPr lang="en" altLang="zh-CN" sz="1700" b="1" dirty="0"/>
              <a:t>Ki/IC50)</a:t>
            </a:r>
            <a:r>
              <a:rPr lang="zh-CN" altLang="en-US" sz="1700" b="1" dirty="0"/>
              <a:t>数据集</a:t>
            </a:r>
            <a:r>
              <a:rPr lang="zh-CN" altLang="en-US" sz="1700" dirty="0"/>
              <a:t>：一张总表，每行是一个化合物，每列是一个</a:t>
            </a:r>
            <a:r>
              <a:rPr lang="en" altLang="zh-CN" sz="1700" dirty="0"/>
              <a:t>assay</a:t>
            </a:r>
            <a:r>
              <a:rPr lang="zh-CN" altLang="en" sz="1700" dirty="0"/>
              <a:t>，</a:t>
            </a:r>
            <a:r>
              <a:rPr lang="zh-CN" altLang="en-US" sz="1700" dirty="0"/>
              <a:t>包含清洗过的化合物的</a:t>
            </a:r>
            <a:r>
              <a:rPr lang="en" altLang="zh-CN" sz="1700" dirty="0"/>
              <a:t>SMILES</a:t>
            </a:r>
            <a:r>
              <a:rPr lang="zh-CN" altLang="en-US" sz="1700" dirty="0"/>
              <a:t>结构信息；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抗菌</a:t>
            </a:r>
            <a:r>
              <a:rPr lang="en-US" altLang="zh-CN" sz="1700" dirty="0"/>
              <a:t>/</a:t>
            </a:r>
            <a:r>
              <a:rPr lang="zh-CN" altLang="en-US" sz="1700" dirty="0"/>
              <a:t>抗病毒已上市和临床实验中的药物、药材、方剂信息：</a:t>
            </a:r>
            <a:r>
              <a:rPr lang="en" altLang="zh-CN" sz="1700" dirty="0"/>
              <a:t>SMILES</a:t>
            </a:r>
            <a:r>
              <a:rPr lang="zh-CN" altLang="en-US" sz="1700" dirty="0"/>
              <a:t>信息，标签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基因信息：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altLang="zh-CN" sz="1700" dirty="0"/>
              <a:t>2019</a:t>
            </a:r>
            <a:r>
              <a:rPr lang="en" altLang="zh-CN" sz="1700" dirty="0" err="1"/>
              <a:t>nCoV</a:t>
            </a:r>
            <a:r>
              <a:rPr lang="zh-CN" altLang="en-US" sz="1700" dirty="0"/>
              <a:t>宿主相关信息：持续更新，加所属生物过程、来源的标签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寒热种子基因、临床表型相关基因；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转录水平的差异表达基因：持续更新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化合物</a:t>
            </a:r>
            <a:r>
              <a:rPr lang="en-US" altLang="zh-CN" sz="1700" dirty="0"/>
              <a:t>-</a:t>
            </a:r>
            <a:r>
              <a:rPr lang="zh-CN" altLang="en-US" sz="1700" dirty="0"/>
              <a:t>免疫相关表型数据集：待收集，后期分析用</a:t>
            </a:r>
          </a:p>
          <a:p>
            <a:pPr>
              <a:buFont typeface="+mj-lt"/>
              <a:buAutoNum type="arabicPeriod"/>
            </a:pPr>
            <a:r>
              <a:rPr lang="zh-CN" altLang="en-US" sz="1700" dirty="0"/>
              <a:t>模型训练：调用</a:t>
            </a:r>
            <a:r>
              <a:rPr lang="en" altLang="zh-CN" sz="1700" dirty="0" err="1"/>
              <a:t>visar</a:t>
            </a:r>
            <a:r>
              <a:rPr lang="zh-CN" altLang="en-US" sz="1700" dirty="0"/>
              <a:t>方法，输入化合物</a:t>
            </a:r>
            <a:r>
              <a:rPr lang="en-US" altLang="zh-CN" sz="1700" dirty="0"/>
              <a:t>-</a:t>
            </a:r>
            <a:r>
              <a:rPr lang="zh-CN" altLang="en-US" sz="1700" dirty="0"/>
              <a:t>蛋白结合强度数据集，输出模型预测性能与模型参数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待实验的参数：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模型类别：目前支持</a:t>
            </a:r>
            <a:r>
              <a:rPr lang="en" altLang="zh-CN" sz="1700" dirty="0"/>
              <a:t>multitask, bypass multitask, attentive fingerprint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训练数据集：依照标签和样本量大小可以有多种组合方式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模型的超参数：隐层节点数、</a:t>
            </a:r>
            <a:r>
              <a:rPr lang="en" altLang="zh-CN" sz="1700" dirty="0"/>
              <a:t>dropout</a:t>
            </a:r>
            <a:r>
              <a:rPr lang="zh-CN" altLang="en" sz="1700" dirty="0"/>
              <a:t>、</a:t>
            </a:r>
            <a:r>
              <a:rPr lang="en" altLang="zh-CN" sz="1700" dirty="0"/>
              <a:t>learning rate etc.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评价指标和模型筛选：目标是选到预测性能相对较好和泛化能力更强的模型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" altLang="zh-CN" sz="1700" dirty="0"/>
              <a:t>RMSE, r2, AUC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" altLang="zh-CN" sz="1700" dirty="0"/>
              <a:t>DUDE</a:t>
            </a:r>
            <a:r>
              <a:rPr lang="zh-CN" altLang="en-US" sz="1700" dirty="0"/>
              <a:t>独立数据集上的验证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" altLang="zh-CN" sz="1700" dirty="0"/>
              <a:t>PDB </a:t>
            </a:r>
            <a:r>
              <a:rPr lang="en" altLang="zh-CN" sz="1700" dirty="0" err="1"/>
              <a:t>PoseView</a:t>
            </a:r>
            <a:endParaRPr lang="en" altLang="zh-CN" sz="1700" dirty="0"/>
          </a:p>
          <a:p>
            <a:pPr>
              <a:buFont typeface="+mj-lt"/>
              <a:buAutoNum type="arabicPeriod"/>
            </a:pPr>
            <a:r>
              <a:rPr lang="zh-CN" altLang="en-US" sz="1700" dirty="0"/>
              <a:t>基于已训练模型的分析：强调“基于结合模式的多靶标干预策略”，有待进一步确定需分析的内容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“表型</a:t>
            </a:r>
            <a:r>
              <a:rPr lang="en-US" altLang="zh-CN" sz="1700" dirty="0"/>
              <a:t>-</a:t>
            </a:r>
            <a:r>
              <a:rPr lang="zh-CN" altLang="en-US" sz="1700" dirty="0"/>
              <a:t>结合模式”的网络构建和分析：从关键结合模式的角度，解释药物干预</a:t>
            </a:r>
            <a:r>
              <a:rPr lang="en-US" altLang="zh-CN" sz="1700" dirty="0"/>
              <a:t>2019</a:t>
            </a:r>
            <a:r>
              <a:rPr lang="en" altLang="zh-CN" sz="1700" dirty="0" err="1"/>
              <a:t>nCoV</a:t>
            </a:r>
            <a:r>
              <a:rPr lang="en" altLang="zh-CN" sz="1700" dirty="0"/>
              <a:t>“</a:t>
            </a:r>
            <a:r>
              <a:rPr lang="zh-CN" altLang="en-US" sz="1700" dirty="0"/>
              <a:t>网络靶标”的机制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从基因角度出发的分析：已有文献的验证？寒热？多靶标设计策略？</a:t>
            </a:r>
          </a:p>
          <a:p>
            <a:pPr marL="742950" lvl="1" indent="-285750">
              <a:buFont typeface="+mj-lt"/>
              <a:buAutoNum type="arabicPeriod"/>
            </a:pPr>
            <a:r>
              <a:rPr lang="zh-CN" altLang="en-US" sz="1700" dirty="0"/>
              <a:t>从药物角度出发的分析：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药物作用的类型，与结合模式之间的关系；</a:t>
            </a:r>
          </a:p>
          <a:p>
            <a:pPr marL="1143000" lvl="2" indent="-228600">
              <a:buFont typeface="+mj-lt"/>
              <a:buAutoNum type="arabicPeriod"/>
            </a:pPr>
            <a:r>
              <a:rPr lang="zh-CN" altLang="en-US" sz="1700" dirty="0"/>
              <a:t>对具体方剂的分析</a:t>
            </a:r>
          </a:p>
        </p:txBody>
      </p:sp>
    </p:spTree>
    <p:extLst>
      <p:ext uri="{BB962C8B-B14F-4D97-AF65-F5344CB8AC3E}">
        <p14:creationId xmlns:p14="http://schemas.microsoft.com/office/powerpoint/2010/main" val="7597885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6</TotalTime>
  <Words>434</Words>
  <Application>Microsoft Macintosh PowerPoint</Application>
  <PresentationFormat>宽屏</PresentationFormat>
  <Paragraphs>41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9" baseType="lpstr">
      <vt:lpstr>等线</vt:lpstr>
      <vt:lpstr>等线 Light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Qingyang Ding</dc:creator>
  <cp:lastModifiedBy>Qingyang Ding</cp:lastModifiedBy>
  <cp:revision>6</cp:revision>
  <dcterms:created xsi:type="dcterms:W3CDTF">2020-04-13T12:25:15Z</dcterms:created>
  <dcterms:modified xsi:type="dcterms:W3CDTF">2020-04-14T03:53:41Z</dcterms:modified>
</cp:coreProperties>
</file>